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4"/>
    <p:sldMasterId id="2147483665" r:id="rId5"/>
  </p:sldMasterIdLst>
  <p:notesMasterIdLst>
    <p:notesMasterId r:id="rId8"/>
  </p:notesMasterIdLst>
  <p:handoutMasterIdLst>
    <p:handoutMasterId r:id="rId9"/>
  </p:handoutMasterIdLst>
  <p:sldIdLst>
    <p:sldId id="344" r:id="rId6"/>
    <p:sldId id="347" r:id="rId7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746003-2984-F338-C074-FCAE57AC1780}" v="11" dt="2019-02-22T13:49:16.5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14" autoAdjust="0"/>
  </p:normalViewPr>
  <p:slideViewPr>
    <p:cSldViewPr showGuides="1">
      <p:cViewPr varScale="1">
        <p:scale>
          <a:sx n="60" d="100"/>
          <a:sy n="60" d="100"/>
        </p:scale>
        <p:origin x="798" y="72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rnando Brandao" userId="98fd82832e5e8854" providerId="LiveId" clId="{4A275135-4C01-4FCA-B794-9C2DE9918CC3}"/>
    <pc:docChg chg="undo custSel addSld delSld modSld sldOrd">
      <pc:chgData name="Fernando Brandao" userId="98fd82832e5e8854" providerId="LiveId" clId="{4A275135-4C01-4FCA-B794-9C2DE9918CC3}" dt="2018-02-15T10:23:13.262" v="2295" actId="20577"/>
      <pc:docMkLst>
        <pc:docMk/>
      </pc:docMkLst>
      <pc:sldChg chg="modSp">
        <pc:chgData name="Fernando Brandao" userId="98fd82832e5e8854" providerId="LiveId" clId="{4A275135-4C01-4FCA-B794-9C2DE9918CC3}" dt="2018-02-05T20:15:27.917" v="81" actId="20577"/>
        <pc:sldMkLst>
          <pc:docMk/>
          <pc:sldMk cId="1096135448" sldId="300"/>
        </pc:sldMkLst>
        <pc:spChg chg="mod">
          <ac:chgData name="Fernando Brandao" userId="98fd82832e5e8854" providerId="LiveId" clId="{4A275135-4C01-4FCA-B794-9C2DE9918CC3}" dt="2018-02-05T20:15:27.917" v="81" actId="20577"/>
          <ac:spMkLst>
            <pc:docMk/>
            <pc:sldMk cId="1096135448" sldId="300"/>
            <ac:spMk id="2" creationId="{00000000-0000-0000-0000-000000000000}"/>
          </ac:spMkLst>
        </pc:spChg>
        <pc:spChg chg="mod">
          <ac:chgData name="Fernando Brandao" userId="98fd82832e5e8854" providerId="LiveId" clId="{4A275135-4C01-4FCA-B794-9C2DE9918CC3}" dt="2018-02-05T20:14:22.599" v="10" actId="20577"/>
          <ac:spMkLst>
            <pc:docMk/>
            <pc:sldMk cId="1096135448" sldId="300"/>
            <ac:spMk id="4" creationId="{00000000-0000-0000-0000-000000000000}"/>
          </ac:spMkLst>
        </pc:spChg>
      </pc:sldChg>
      <pc:sldChg chg="addSp delSp modSp modAnim">
        <pc:chgData name="Fernando Brandao" userId="98fd82832e5e8854" providerId="LiveId" clId="{4A275135-4C01-4FCA-B794-9C2DE9918CC3}" dt="2018-02-06T18:48:11.504" v="2263" actId="12"/>
        <pc:sldMkLst>
          <pc:docMk/>
          <pc:sldMk cId="525354814" sldId="310"/>
        </pc:sldMkLst>
        <pc:spChg chg="mod">
          <ac:chgData name="Fernando Brandao" userId="98fd82832e5e8854" providerId="LiveId" clId="{4A275135-4C01-4FCA-B794-9C2DE9918CC3}" dt="2018-02-05T20:15:54.606" v="94" actId="20577"/>
          <ac:spMkLst>
            <pc:docMk/>
            <pc:sldMk cId="525354814" sldId="310"/>
            <ac:spMk id="4" creationId="{00000000-0000-0000-0000-000000000000}"/>
          </ac:spMkLst>
        </pc:spChg>
        <pc:spChg chg="mod">
          <ac:chgData name="Fernando Brandao" userId="98fd82832e5e8854" providerId="LiveId" clId="{4A275135-4C01-4FCA-B794-9C2DE9918CC3}" dt="2018-02-05T20:20:00.340" v="106" actId="1076"/>
          <ac:spMkLst>
            <pc:docMk/>
            <pc:sldMk cId="525354814" sldId="310"/>
            <ac:spMk id="13" creationId="{00000000-0000-0000-0000-000000000000}"/>
          </ac:spMkLst>
        </pc:spChg>
        <pc:picChg chg="add mod">
          <ac:chgData name="Fernando Brandao" userId="98fd82832e5e8854" providerId="LiveId" clId="{4A275135-4C01-4FCA-B794-9C2DE9918CC3}" dt="2018-02-05T20:19:49.877" v="104" actId="1076"/>
          <ac:picMkLst>
            <pc:docMk/>
            <pc:sldMk cId="525354814" sldId="310"/>
            <ac:picMk id="2" creationId="{7C644FD1-5965-4A4C-8253-A7F349213285}"/>
          </ac:picMkLst>
        </pc:picChg>
        <pc:picChg chg="del mod">
          <ac:chgData name="Fernando Brandao" userId="98fd82832e5e8854" providerId="LiveId" clId="{4A275135-4C01-4FCA-B794-9C2DE9918CC3}" dt="2018-02-05T20:15:56.993" v="96" actId="478"/>
          <ac:picMkLst>
            <pc:docMk/>
            <pc:sldMk cId="525354814" sldId="310"/>
            <ac:picMk id="5" creationId="{6257E4D6-7819-41CB-8919-3B6F6BA87BA9}"/>
          </ac:picMkLst>
        </pc:picChg>
      </pc:sldChg>
      <pc:sldChg chg="addSp delSp modSp add modAnim">
        <pc:chgData name="Fernando Brandao" userId="98fd82832e5e8854" providerId="LiveId" clId="{4A275135-4C01-4FCA-B794-9C2DE9918CC3}" dt="2018-02-06T18:48:20.729" v="2264" actId="12"/>
        <pc:sldMkLst>
          <pc:docMk/>
          <pc:sldMk cId="3614053373" sldId="311"/>
        </pc:sldMkLst>
        <pc:spChg chg="mod">
          <ac:chgData name="Fernando Brandao" userId="98fd82832e5e8854" providerId="LiveId" clId="{4A275135-4C01-4FCA-B794-9C2DE9918CC3}" dt="2018-02-05T20:27:55.843" v="171" actId="1076"/>
          <ac:spMkLst>
            <pc:docMk/>
            <pc:sldMk cId="3614053373" sldId="311"/>
            <ac:spMk id="13" creationId="{00000000-0000-0000-0000-000000000000}"/>
          </ac:spMkLst>
        </pc:spChg>
        <pc:picChg chg="del mod">
          <ac:chgData name="Fernando Brandao" userId="98fd82832e5e8854" providerId="LiveId" clId="{4A275135-4C01-4FCA-B794-9C2DE9918CC3}" dt="2018-02-05T20:27:24.940" v="166" actId="478"/>
          <ac:picMkLst>
            <pc:docMk/>
            <pc:sldMk cId="3614053373" sldId="311"/>
            <ac:picMk id="2" creationId="{7C644FD1-5965-4A4C-8253-A7F349213285}"/>
          </ac:picMkLst>
        </pc:picChg>
        <pc:picChg chg="add mod">
          <ac:chgData name="Fernando Brandao" userId="98fd82832e5e8854" providerId="LiveId" clId="{4A275135-4C01-4FCA-B794-9C2DE9918CC3}" dt="2018-02-05T20:28:07.784" v="174" actId="1076"/>
          <ac:picMkLst>
            <pc:docMk/>
            <pc:sldMk cId="3614053373" sldId="311"/>
            <ac:picMk id="6" creationId="{BE9D7BB8-DA03-4EC6-9D9F-A18AD4F9F234}"/>
          </ac:picMkLst>
        </pc:picChg>
      </pc:sldChg>
      <pc:sldChg chg="addSp delSp modSp add modAnim">
        <pc:chgData name="Fernando Brandao" userId="98fd82832e5e8854" providerId="LiveId" clId="{4A275135-4C01-4FCA-B794-9C2DE9918CC3}" dt="2018-02-06T18:48:25.895" v="2265" actId="12"/>
        <pc:sldMkLst>
          <pc:docMk/>
          <pc:sldMk cId="4107097815" sldId="313"/>
        </pc:sldMkLst>
        <pc:spChg chg="mod">
          <ac:chgData name="Fernando Brandao" userId="98fd82832e5e8854" providerId="LiveId" clId="{4A275135-4C01-4FCA-B794-9C2DE9918CC3}" dt="2018-02-05T20:35:50.780" v="211" actId="20577"/>
          <ac:spMkLst>
            <pc:docMk/>
            <pc:sldMk cId="4107097815" sldId="313"/>
            <ac:spMk id="13" creationId="{00000000-0000-0000-0000-000000000000}"/>
          </ac:spMkLst>
        </pc:spChg>
        <pc:picChg chg="add mod">
          <ac:chgData name="Fernando Brandao" userId="98fd82832e5e8854" providerId="LiveId" clId="{4A275135-4C01-4FCA-B794-9C2DE9918CC3}" dt="2018-02-05T20:36:51.895" v="215" actId="1076"/>
          <ac:picMkLst>
            <pc:docMk/>
            <pc:sldMk cId="4107097815" sldId="313"/>
            <ac:picMk id="2" creationId="{61DB1FFF-6E66-43A3-BBA6-6260208A5CF9}"/>
          </ac:picMkLst>
        </pc:picChg>
        <pc:picChg chg="del">
          <ac:chgData name="Fernando Brandao" userId="98fd82832e5e8854" providerId="LiveId" clId="{4A275135-4C01-4FCA-B794-9C2DE9918CC3}" dt="2018-02-05T20:29:04.549" v="176" actId="478"/>
          <ac:picMkLst>
            <pc:docMk/>
            <pc:sldMk cId="4107097815" sldId="313"/>
            <ac:picMk id="6" creationId="{BE9D7BB8-DA03-4EC6-9D9F-A18AD4F9F234}"/>
          </ac:picMkLst>
        </pc:picChg>
      </pc:sldChg>
      <pc:sldChg chg="delSp modSp add modAnim">
        <pc:chgData name="Fernando Brandao" userId="98fd82832e5e8854" providerId="LiveId" clId="{4A275135-4C01-4FCA-B794-9C2DE9918CC3}" dt="2018-02-06T18:49:30.467" v="2267" actId="12"/>
        <pc:sldMkLst>
          <pc:docMk/>
          <pc:sldMk cId="3603579936" sldId="314"/>
        </pc:sldMkLst>
        <pc:spChg chg="mod">
          <ac:chgData name="Fernando Brandao" userId="98fd82832e5e8854" providerId="LiveId" clId="{4A275135-4C01-4FCA-B794-9C2DE9918CC3}" dt="2018-02-05T20:44:18.886" v="447" actId="20577"/>
          <ac:spMkLst>
            <pc:docMk/>
            <pc:sldMk cId="3603579936" sldId="314"/>
            <ac:spMk id="13" creationId="{00000000-0000-0000-0000-000000000000}"/>
          </ac:spMkLst>
        </pc:spChg>
        <pc:picChg chg="del">
          <ac:chgData name="Fernando Brandao" userId="98fd82832e5e8854" providerId="LiveId" clId="{4A275135-4C01-4FCA-B794-9C2DE9918CC3}" dt="2018-02-05T20:38:28.400" v="218" actId="478"/>
          <ac:picMkLst>
            <pc:docMk/>
            <pc:sldMk cId="3603579936" sldId="314"/>
            <ac:picMk id="2" creationId="{61DB1FFF-6E66-43A3-BBA6-6260208A5CF9}"/>
          </ac:picMkLst>
        </pc:picChg>
      </pc:sldChg>
      <pc:sldChg chg="addSp modSp add">
        <pc:chgData name="Fernando Brandao" userId="98fd82832e5e8854" providerId="LiveId" clId="{4A275135-4C01-4FCA-B794-9C2DE9918CC3}" dt="2018-02-05T20:51:03.528" v="517" actId="1076"/>
        <pc:sldMkLst>
          <pc:docMk/>
          <pc:sldMk cId="1178766433" sldId="315"/>
        </pc:sldMkLst>
        <pc:spChg chg="mod">
          <ac:chgData name="Fernando Brandao" userId="98fd82832e5e8854" providerId="LiveId" clId="{4A275135-4C01-4FCA-B794-9C2DE9918CC3}" dt="2018-02-05T20:48:03.359" v="510" actId="1076"/>
          <ac:spMkLst>
            <pc:docMk/>
            <pc:sldMk cId="1178766433" sldId="315"/>
            <ac:spMk id="4" creationId="{00000000-0000-0000-0000-000000000000}"/>
          </ac:spMkLst>
        </pc:spChg>
        <pc:spChg chg="mod">
          <ac:chgData name="Fernando Brandao" userId="98fd82832e5e8854" providerId="LiveId" clId="{4A275135-4C01-4FCA-B794-9C2DE9918CC3}" dt="2018-02-05T20:50:48.300" v="512" actId="14100"/>
          <ac:spMkLst>
            <pc:docMk/>
            <pc:sldMk cId="1178766433" sldId="315"/>
            <ac:spMk id="13" creationId="{00000000-0000-0000-0000-000000000000}"/>
          </ac:spMkLst>
        </pc:spChg>
        <pc:picChg chg="add mod">
          <ac:chgData name="Fernando Brandao" userId="98fd82832e5e8854" providerId="LiveId" clId="{4A275135-4C01-4FCA-B794-9C2DE9918CC3}" dt="2018-02-05T20:51:03.528" v="517" actId="1076"/>
          <ac:picMkLst>
            <pc:docMk/>
            <pc:sldMk cId="1178766433" sldId="315"/>
            <ac:picMk id="2" creationId="{64F09B2A-D585-444C-AA0D-36BE33D40EFB}"/>
          </ac:picMkLst>
        </pc:picChg>
        <pc:picChg chg="add mod">
          <ac:chgData name="Fernando Brandao" userId="98fd82832e5e8854" providerId="LiveId" clId="{4A275135-4C01-4FCA-B794-9C2DE9918CC3}" dt="2018-02-05T20:50:58.534" v="516" actId="1076"/>
          <ac:picMkLst>
            <pc:docMk/>
            <pc:sldMk cId="1178766433" sldId="315"/>
            <ac:picMk id="5" creationId="{F27D2A4D-8603-4B98-B6FB-0D4585C1D15A}"/>
          </ac:picMkLst>
        </pc:picChg>
      </pc:sldChg>
      <pc:sldChg chg="delSp modSp add modAnim">
        <pc:chgData name="Fernando Brandao" userId="98fd82832e5e8854" providerId="LiveId" clId="{4A275135-4C01-4FCA-B794-9C2DE9918CC3}" dt="2018-02-06T18:50:59.861" v="2269" actId="12"/>
        <pc:sldMkLst>
          <pc:docMk/>
          <pc:sldMk cId="3323306293" sldId="316"/>
        </pc:sldMkLst>
        <pc:spChg chg="mod">
          <ac:chgData name="Fernando Brandao" userId="98fd82832e5e8854" providerId="LiveId" clId="{4A275135-4C01-4FCA-B794-9C2DE9918CC3}" dt="2018-02-05T21:03:22.216" v="600" actId="113"/>
          <ac:spMkLst>
            <pc:docMk/>
            <pc:sldMk cId="3323306293" sldId="316"/>
            <ac:spMk id="13" creationId="{00000000-0000-0000-0000-000000000000}"/>
          </ac:spMkLst>
        </pc:spChg>
        <pc:picChg chg="del">
          <ac:chgData name="Fernando Brandao" userId="98fd82832e5e8854" providerId="LiveId" clId="{4A275135-4C01-4FCA-B794-9C2DE9918CC3}" dt="2018-02-05T20:56:59.335" v="519" actId="478"/>
          <ac:picMkLst>
            <pc:docMk/>
            <pc:sldMk cId="3323306293" sldId="316"/>
            <ac:picMk id="2" creationId="{64F09B2A-D585-444C-AA0D-36BE33D40EFB}"/>
          </ac:picMkLst>
        </pc:picChg>
        <pc:picChg chg="del">
          <ac:chgData name="Fernando Brandao" userId="98fd82832e5e8854" providerId="LiveId" clId="{4A275135-4C01-4FCA-B794-9C2DE9918CC3}" dt="2018-02-05T20:56:59.335" v="519" actId="478"/>
          <ac:picMkLst>
            <pc:docMk/>
            <pc:sldMk cId="3323306293" sldId="316"/>
            <ac:picMk id="5" creationId="{F27D2A4D-8603-4B98-B6FB-0D4585C1D15A}"/>
          </ac:picMkLst>
        </pc:picChg>
      </pc:sldChg>
      <pc:sldChg chg="addSp modSp add modAnim">
        <pc:chgData name="Fernando Brandao" userId="98fd82832e5e8854" providerId="LiveId" clId="{4A275135-4C01-4FCA-B794-9C2DE9918CC3}" dt="2018-02-06T18:51:20.814" v="2271" actId="12"/>
        <pc:sldMkLst>
          <pc:docMk/>
          <pc:sldMk cId="4108785782" sldId="317"/>
        </pc:sldMkLst>
        <pc:spChg chg="mod">
          <ac:chgData name="Fernando Brandao" userId="98fd82832e5e8854" providerId="LiveId" clId="{4A275135-4C01-4FCA-B794-9C2DE9918CC3}" dt="2018-02-05T21:24:22.596" v="790" actId="113"/>
          <ac:spMkLst>
            <pc:docMk/>
            <pc:sldMk cId="4108785782" sldId="317"/>
            <ac:spMk id="13" creationId="{00000000-0000-0000-0000-000000000000}"/>
          </ac:spMkLst>
        </pc:spChg>
        <pc:picChg chg="add mod">
          <ac:chgData name="Fernando Brandao" userId="98fd82832e5e8854" providerId="LiveId" clId="{4A275135-4C01-4FCA-B794-9C2DE9918CC3}" dt="2018-02-05T21:24:09.203" v="788" actId="1076"/>
          <ac:picMkLst>
            <pc:docMk/>
            <pc:sldMk cId="4108785782" sldId="317"/>
            <ac:picMk id="2" creationId="{7D1B2ABD-2566-4B02-966C-DBFC2B0DEE84}"/>
          </ac:picMkLst>
        </pc:picChg>
      </pc:sldChg>
      <pc:sldChg chg="delSp modSp add modAnim">
        <pc:chgData name="Fernando Brandao" userId="98fd82832e5e8854" providerId="LiveId" clId="{4A275135-4C01-4FCA-B794-9C2DE9918CC3}" dt="2018-02-05T21:52:26.499" v="1327" actId="20577"/>
        <pc:sldMkLst>
          <pc:docMk/>
          <pc:sldMk cId="1223246193" sldId="318"/>
        </pc:sldMkLst>
        <pc:spChg chg="mod">
          <ac:chgData name="Fernando Brandao" userId="98fd82832e5e8854" providerId="LiveId" clId="{4A275135-4C01-4FCA-B794-9C2DE9918CC3}" dt="2018-02-05T21:41:36.864" v="846" actId="20577"/>
          <ac:spMkLst>
            <pc:docMk/>
            <pc:sldMk cId="1223246193" sldId="318"/>
            <ac:spMk id="4" creationId="{00000000-0000-0000-0000-000000000000}"/>
          </ac:spMkLst>
        </pc:spChg>
        <pc:spChg chg="mod">
          <ac:chgData name="Fernando Brandao" userId="98fd82832e5e8854" providerId="LiveId" clId="{4A275135-4C01-4FCA-B794-9C2DE9918CC3}" dt="2018-02-05T21:52:26.499" v="1327" actId="20577"/>
          <ac:spMkLst>
            <pc:docMk/>
            <pc:sldMk cId="1223246193" sldId="318"/>
            <ac:spMk id="13" creationId="{00000000-0000-0000-0000-000000000000}"/>
          </ac:spMkLst>
        </pc:spChg>
        <pc:picChg chg="del">
          <ac:chgData name="Fernando Brandao" userId="98fd82832e5e8854" providerId="LiveId" clId="{4A275135-4C01-4FCA-B794-9C2DE9918CC3}" dt="2018-02-05T21:41:41.638" v="847" actId="478"/>
          <ac:picMkLst>
            <pc:docMk/>
            <pc:sldMk cId="1223246193" sldId="318"/>
            <ac:picMk id="2" creationId="{7D1B2ABD-2566-4B02-966C-DBFC2B0DEE84}"/>
          </ac:picMkLst>
        </pc:picChg>
      </pc:sldChg>
      <pc:sldChg chg="modSp add modAnim">
        <pc:chgData name="Fernando Brandao" userId="98fd82832e5e8854" providerId="LiveId" clId="{4A275135-4C01-4FCA-B794-9C2DE9918CC3}" dt="2018-02-15T10:23:13.262" v="2295" actId="20577"/>
        <pc:sldMkLst>
          <pc:docMk/>
          <pc:sldMk cId="2646995053" sldId="319"/>
        </pc:sldMkLst>
        <pc:spChg chg="mod">
          <ac:chgData name="Fernando Brandao" userId="98fd82832e5e8854" providerId="LiveId" clId="{4A275135-4C01-4FCA-B794-9C2DE9918CC3}" dt="2018-02-15T10:23:13.262" v="2295" actId="20577"/>
          <ac:spMkLst>
            <pc:docMk/>
            <pc:sldMk cId="2646995053" sldId="319"/>
            <ac:spMk id="13" creationId="{00000000-0000-0000-0000-000000000000}"/>
          </ac:spMkLst>
        </pc:spChg>
      </pc:sldChg>
      <pc:sldChg chg="modSp add ord">
        <pc:chgData name="Fernando Brandao" userId="98fd82832e5e8854" providerId="LiveId" clId="{4A275135-4C01-4FCA-B794-9C2DE9918CC3}" dt="2018-02-06T21:07:11.295" v="2288" actId="20577"/>
        <pc:sldMkLst>
          <pc:docMk/>
          <pc:sldMk cId="827175118" sldId="320"/>
        </pc:sldMkLst>
        <pc:spChg chg="mod">
          <ac:chgData name="Fernando Brandao" userId="98fd82832e5e8854" providerId="LiveId" clId="{4A275135-4C01-4FCA-B794-9C2DE9918CC3}" dt="2018-02-05T22:05:50.191" v="1470" actId="6549"/>
          <ac:spMkLst>
            <pc:docMk/>
            <pc:sldMk cId="827175118" sldId="320"/>
            <ac:spMk id="4" creationId="{00000000-0000-0000-0000-000000000000}"/>
          </ac:spMkLst>
        </pc:spChg>
        <pc:spChg chg="mod">
          <ac:chgData name="Fernando Brandao" userId="98fd82832e5e8854" providerId="LiveId" clId="{4A275135-4C01-4FCA-B794-9C2DE9918CC3}" dt="2018-02-06T21:07:11.295" v="2288" actId="20577"/>
          <ac:spMkLst>
            <pc:docMk/>
            <pc:sldMk cId="827175118" sldId="320"/>
            <ac:spMk id="13" creationId="{00000000-0000-0000-0000-000000000000}"/>
          </ac:spMkLst>
        </pc:spChg>
      </pc:sldChg>
      <pc:sldChg chg="addSp modSp add modAnim">
        <pc:chgData name="Fernando Brandao" userId="98fd82832e5e8854" providerId="LiveId" clId="{4A275135-4C01-4FCA-B794-9C2DE9918CC3}" dt="2018-02-05T22:20:32.778" v="2262" actId="20577"/>
        <pc:sldMkLst>
          <pc:docMk/>
          <pc:sldMk cId="3555918169" sldId="321"/>
        </pc:sldMkLst>
        <pc:spChg chg="mod">
          <ac:chgData name="Fernando Brandao" userId="98fd82832e5e8854" providerId="LiveId" clId="{4A275135-4C01-4FCA-B794-9C2DE9918CC3}" dt="2018-02-05T22:10:24.586" v="1623" actId="20577"/>
          <ac:spMkLst>
            <pc:docMk/>
            <pc:sldMk cId="3555918169" sldId="321"/>
            <ac:spMk id="4" creationId="{00000000-0000-0000-0000-000000000000}"/>
          </ac:spMkLst>
        </pc:spChg>
        <pc:spChg chg="mod">
          <ac:chgData name="Fernando Brandao" userId="98fd82832e5e8854" providerId="LiveId" clId="{4A275135-4C01-4FCA-B794-9C2DE9918CC3}" dt="2018-02-05T22:20:32.778" v="2262" actId="20577"/>
          <ac:spMkLst>
            <pc:docMk/>
            <pc:sldMk cId="3555918169" sldId="321"/>
            <ac:spMk id="13" creationId="{00000000-0000-0000-0000-000000000000}"/>
          </ac:spMkLst>
        </pc:spChg>
        <pc:picChg chg="add mod">
          <ac:chgData name="Fernando Brandao" userId="98fd82832e5e8854" providerId="LiveId" clId="{4A275135-4C01-4FCA-B794-9C2DE9918CC3}" dt="2018-02-05T22:18:58.624" v="2258" actId="1076"/>
          <ac:picMkLst>
            <pc:docMk/>
            <pc:sldMk cId="3555918169" sldId="321"/>
            <ac:picMk id="2" creationId="{66FABBAC-2E0E-49D5-8461-D002BD2327C0}"/>
          </ac:picMkLst>
        </pc:picChg>
      </pc:sldChg>
      <pc:sldChg chg="add">
        <pc:chgData name="Fernando Brandao" userId="98fd82832e5e8854" providerId="LiveId" clId="{4A275135-4C01-4FCA-B794-9C2DE9918CC3}" dt="2018-02-06T20:37:15.406" v="2275" actId="20577"/>
        <pc:sldMkLst>
          <pc:docMk/>
          <pc:sldMk cId="3083750700" sldId="322"/>
        </pc:sldMkLst>
      </pc:sldChg>
    </pc:docChg>
  </pc:docChgLst>
  <pc:docChgLst>
    <pc:chgData name="Fernando Brandao" userId="98fd82832e5e8854" providerId="LiveId" clId="{34A35D82-E50D-40C5-AE13-6F86E0B975D0}"/>
  </pc:docChgLst>
  <pc:docChgLst>
    <pc:chgData name="Fernando Brandao" userId="98fd82832e5e8854" providerId="LiveId" clId="{DB6130DC-7DFE-4F49-9E2C-C5F1B20DDDB1}"/>
  </pc:docChgLst>
  <pc:docChgLst>
    <pc:chgData name="VICTOR FERREIRA DE SOUSA" userId="S::victor.sousa@bandtec.com.br::efba667f-df62-4343-b561-262b5dbd7cd9" providerId="AD" clId="Web-{AA746003-2984-F338-C074-FCAE57AC1780}"/>
    <pc:docChg chg="addSld delSld modSld">
      <pc:chgData name="VICTOR FERREIRA DE SOUSA" userId="S::victor.sousa@bandtec.com.br::efba667f-df62-4343-b561-262b5dbd7cd9" providerId="AD" clId="Web-{AA746003-2984-F338-C074-FCAE57AC1780}" dt="2019-02-22T14:00:35.731" v="520" actId="20577"/>
      <pc:docMkLst>
        <pc:docMk/>
      </pc:docMkLst>
      <pc:sldChg chg="del">
        <pc:chgData name="VICTOR FERREIRA DE SOUSA" userId="S::victor.sousa@bandtec.com.br::efba667f-df62-4343-b561-262b5dbd7cd9" providerId="AD" clId="Web-{AA746003-2984-F338-C074-FCAE57AC1780}" dt="2019-02-22T13:18:54.482" v="0"/>
        <pc:sldMkLst>
          <pc:docMk/>
          <pc:sldMk cId="0" sldId="256"/>
        </pc:sldMkLst>
      </pc:sldChg>
      <pc:sldChg chg="addSp delSp modSp">
        <pc:chgData name="VICTOR FERREIRA DE SOUSA" userId="S::victor.sousa@bandtec.com.br::efba667f-df62-4343-b561-262b5dbd7cd9" providerId="AD" clId="Web-{AA746003-2984-F338-C074-FCAE57AC1780}" dt="2019-02-22T13:58:43.123" v="493" actId="1076"/>
        <pc:sldMkLst>
          <pc:docMk/>
          <pc:sldMk cId="220032209" sldId="344"/>
        </pc:sldMkLst>
        <pc:spChg chg="mod">
          <ac:chgData name="VICTOR FERREIRA DE SOUSA" userId="S::victor.sousa@bandtec.com.br::efba667f-df62-4343-b561-262b5dbd7cd9" providerId="AD" clId="Web-{AA746003-2984-F338-C074-FCAE57AC1780}" dt="2019-02-22T13:32:17.101" v="97" actId="1076"/>
          <ac:spMkLst>
            <pc:docMk/>
            <pc:sldMk cId="220032209" sldId="344"/>
            <ac:spMk id="11" creationId="{4997F601-006F-4BC7-9604-88E30DA500D9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19:59.544" v="21" actId="20577"/>
          <ac:spMkLst>
            <pc:docMk/>
            <pc:sldMk cId="220032209" sldId="344"/>
            <ac:spMk id="12" creationId="{00000000-0000-0000-0000-000000000000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35:31.553" v="153" actId="14100"/>
          <ac:spMkLst>
            <pc:docMk/>
            <pc:sldMk cId="220032209" sldId="344"/>
            <ac:spMk id="13" creationId="{4997F601-006F-4BC7-9604-88E30DA500D9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36:55.178" v="162" actId="1076"/>
          <ac:spMkLst>
            <pc:docMk/>
            <pc:sldMk cId="220032209" sldId="344"/>
            <ac:spMk id="16" creationId="{4997F601-006F-4BC7-9604-88E30DA500D9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37:42.678" v="172" actId="1076"/>
          <ac:spMkLst>
            <pc:docMk/>
            <pc:sldMk cId="220032209" sldId="344"/>
            <ac:spMk id="17" creationId="{4997F601-006F-4BC7-9604-88E30DA500D9}"/>
          </ac:spMkLst>
        </pc:spChg>
        <pc:spChg chg="add del mod">
          <ac:chgData name="VICTOR FERREIRA DE SOUSA" userId="S::victor.sousa@bandtec.com.br::efba667f-df62-4343-b561-262b5dbd7cd9" providerId="AD" clId="Web-{AA746003-2984-F338-C074-FCAE57AC1780}" dt="2019-02-22T13:34:30.304" v="138"/>
          <ac:spMkLst>
            <pc:docMk/>
            <pc:sldMk cId="220032209" sldId="344"/>
            <ac:spMk id="19" creationId="{5E78478B-5BC3-41F8-BD0A-6DD9CEE0BBFF}"/>
          </ac:spMkLst>
        </pc:spChg>
        <pc:spChg chg="add mod">
          <ac:chgData name="VICTOR FERREIRA DE SOUSA" userId="S::victor.sousa@bandtec.com.br::efba667f-df62-4343-b561-262b5dbd7cd9" providerId="AD" clId="Web-{AA746003-2984-F338-C074-FCAE57AC1780}" dt="2019-02-22T13:36:58.693" v="164" actId="1076"/>
          <ac:spMkLst>
            <pc:docMk/>
            <pc:sldMk cId="220032209" sldId="344"/>
            <ac:spMk id="20" creationId="{BB98531C-08A4-4699-97BF-99F5CD14A417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31:27.946" v="75" actId="1076"/>
          <ac:spMkLst>
            <pc:docMk/>
            <pc:sldMk cId="220032209" sldId="344"/>
            <ac:spMk id="21" creationId="{4997F601-006F-4BC7-9604-88E30DA500D9}"/>
          </ac:spMkLst>
        </pc:spChg>
        <pc:spChg chg="add del mod">
          <ac:chgData name="VICTOR FERREIRA DE SOUSA" userId="S::victor.sousa@bandtec.com.br::efba667f-df62-4343-b561-262b5dbd7cd9" providerId="AD" clId="Web-{AA746003-2984-F338-C074-FCAE57AC1780}" dt="2019-02-22T13:58:15.467" v="489" actId="14100"/>
          <ac:spMkLst>
            <pc:docMk/>
            <pc:sldMk cId="220032209" sldId="344"/>
            <ac:spMk id="22" creationId="{4997F601-006F-4BC7-9604-88E30DA500D9}"/>
          </ac:spMkLst>
        </pc:spChg>
        <pc:spChg chg="add del mod">
          <ac:chgData name="VICTOR FERREIRA DE SOUSA" userId="S::victor.sousa@bandtec.com.br::efba667f-df62-4343-b561-262b5dbd7cd9" providerId="AD" clId="Web-{AA746003-2984-F338-C074-FCAE57AC1780}" dt="2019-02-22T13:58:24.638" v="490"/>
          <ac:spMkLst>
            <pc:docMk/>
            <pc:sldMk cId="220032209" sldId="344"/>
            <ac:spMk id="23" creationId="{F5B02427-50F1-48D0-9196-34BACA132236}"/>
          </ac:spMkLst>
        </pc:spChg>
        <pc:spChg chg="add del mod">
          <ac:chgData name="VICTOR FERREIRA DE SOUSA" userId="S::victor.sousa@bandtec.com.br::efba667f-df62-4343-b561-262b5dbd7cd9" providerId="AD" clId="Web-{AA746003-2984-F338-C074-FCAE57AC1780}" dt="2019-02-22T13:58:39.576" v="491"/>
          <ac:spMkLst>
            <pc:docMk/>
            <pc:sldMk cId="220032209" sldId="344"/>
            <ac:spMk id="24" creationId="{D1A6914B-F188-4568-9F0D-079951DE7196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58:43.123" v="493" actId="1076"/>
          <ac:spMkLst>
            <pc:docMk/>
            <pc:sldMk cId="220032209" sldId="344"/>
            <ac:spMk id="26" creationId="{4997F601-006F-4BC7-9604-88E30DA500D9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58:41.482" v="492" actId="1076"/>
          <ac:spMkLst>
            <pc:docMk/>
            <pc:sldMk cId="220032209" sldId="344"/>
            <ac:spMk id="27" creationId="{4997F601-006F-4BC7-9604-88E30DA500D9}"/>
          </ac:spMkLst>
        </pc:spChg>
        <pc:spChg chg="del mod">
          <ac:chgData name="VICTOR FERREIRA DE SOUSA" userId="S::victor.sousa@bandtec.com.br::efba667f-df62-4343-b561-262b5dbd7cd9" providerId="AD" clId="Web-{AA746003-2984-F338-C074-FCAE57AC1780}" dt="2019-02-22T13:49:00.189" v="349"/>
          <ac:spMkLst>
            <pc:docMk/>
            <pc:sldMk cId="220032209" sldId="344"/>
            <ac:spMk id="35" creationId="{4997F601-006F-4BC7-9604-88E30DA500D9}"/>
          </ac:spMkLst>
        </pc:spChg>
      </pc:sldChg>
      <pc:sldChg chg="modSp del">
        <pc:chgData name="VICTOR FERREIRA DE SOUSA" userId="S::victor.sousa@bandtec.com.br::efba667f-df62-4343-b561-262b5dbd7cd9" providerId="AD" clId="Web-{AA746003-2984-F338-C074-FCAE57AC1780}" dt="2019-02-22T13:42:10.379" v="229"/>
        <pc:sldMkLst>
          <pc:docMk/>
          <pc:sldMk cId="2106379755" sldId="345"/>
        </pc:sldMkLst>
        <pc:spChg chg="mod">
          <ac:chgData name="VICTOR FERREIRA DE SOUSA" userId="S::victor.sousa@bandtec.com.br::efba667f-df62-4343-b561-262b5dbd7cd9" providerId="AD" clId="Web-{AA746003-2984-F338-C074-FCAE57AC1780}" dt="2019-02-22T13:19:49.950" v="18" actId="20577"/>
          <ac:spMkLst>
            <pc:docMk/>
            <pc:sldMk cId="2106379755" sldId="345"/>
            <ac:spMk id="12" creationId="{00000000-0000-0000-0000-000000000000}"/>
          </ac:spMkLst>
        </pc:spChg>
      </pc:sldChg>
      <pc:sldChg chg="addSp delSp modSp add replId">
        <pc:chgData name="VICTOR FERREIRA DE SOUSA" userId="S::victor.sousa@bandtec.com.br::efba667f-df62-4343-b561-262b5dbd7cd9" providerId="AD" clId="Web-{AA746003-2984-F338-C074-FCAE57AC1780}" dt="2019-02-22T14:00:35.731" v="520" actId="20577"/>
        <pc:sldMkLst>
          <pc:docMk/>
          <pc:sldMk cId="3773517881" sldId="347"/>
        </pc:sldMkLst>
        <pc:spChg chg="mod">
          <ac:chgData name="VICTOR FERREIRA DE SOUSA" userId="S::victor.sousa@bandtec.com.br::efba667f-df62-4343-b561-262b5dbd7cd9" providerId="AD" clId="Web-{AA746003-2984-F338-C074-FCAE57AC1780}" dt="2019-02-22T13:51:25.469" v="392" actId="1076"/>
          <ac:spMkLst>
            <pc:docMk/>
            <pc:sldMk cId="3773517881" sldId="347"/>
            <ac:spMk id="11" creationId="{4997F601-006F-4BC7-9604-88E30DA500D9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51:10.282" v="389" actId="14100"/>
          <ac:spMkLst>
            <pc:docMk/>
            <pc:sldMk cId="3773517881" sldId="347"/>
            <ac:spMk id="13" creationId="{4997F601-006F-4BC7-9604-88E30DA500D9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55:18.483" v="450" actId="1076"/>
          <ac:spMkLst>
            <pc:docMk/>
            <pc:sldMk cId="3773517881" sldId="347"/>
            <ac:spMk id="16" creationId="{4997F601-006F-4BC7-9604-88E30DA500D9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54:33.734" v="441" actId="1076"/>
          <ac:spMkLst>
            <pc:docMk/>
            <pc:sldMk cId="3773517881" sldId="347"/>
            <ac:spMk id="17" creationId="{4997F601-006F-4BC7-9604-88E30DA500D9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55:56.031" v="464" actId="1076"/>
          <ac:spMkLst>
            <pc:docMk/>
            <pc:sldMk cId="3773517881" sldId="347"/>
            <ac:spMk id="20" creationId="{BB98531C-08A4-4699-97BF-99F5CD14A417}"/>
          </ac:spMkLst>
        </pc:spChg>
        <pc:spChg chg="mod">
          <ac:chgData name="VICTOR FERREIRA DE SOUSA" userId="S::victor.sousa@bandtec.com.br::efba667f-df62-4343-b561-262b5dbd7cd9" providerId="AD" clId="Web-{AA746003-2984-F338-C074-FCAE57AC1780}" dt="2019-02-22T13:53:10.656" v="421" actId="1076"/>
          <ac:spMkLst>
            <pc:docMk/>
            <pc:sldMk cId="3773517881" sldId="347"/>
            <ac:spMk id="21" creationId="{4997F601-006F-4BC7-9604-88E30DA500D9}"/>
          </ac:spMkLst>
        </pc:spChg>
        <pc:spChg chg="del mod">
          <ac:chgData name="VICTOR FERREIRA DE SOUSA" userId="S::victor.sousa@bandtec.com.br::efba667f-df62-4343-b561-262b5dbd7cd9" providerId="AD" clId="Web-{AA746003-2984-F338-C074-FCAE57AC1780}" dt="2019-02-22T13:48:32.408" v="343"/>
          <ac:spMkLst>
            <pc:docMk/>
            <pc:sldMk cId="3773517881" sldId="347"/>
            <ac:spMk id="22" creationId="{4997F601-006F-4BC7-9604-88E30DA500D9}"/>
          </ac:spMkLst>
        </pc:spChg>
        <pc:spChg chg="del mod">
          <ac:chgData name="VICTOR FERREIRA DE SOUSA" userId="S::victor.sousa@bandtec.com.br::efba667f-df62-4343-b561-262b5dbd7cd9" providerId="AD" clId="Web-{AA746003-2984-F338-C074-FCAE57AC1780}" dt="2019-02-22T13:55:27.014" v="452"/>
          <ac:spMkLst>
            <pc:docMk/>
            <pc:sldMk cId="3773517881" sldId="347"/>
            <ac:spMk id="23" creationId="{F5B02427-50F1-48D0-9196-34BACA132236}"/>
          </ac:spMkLst>
        </pc:spChg>
        <pc:spChg chg="del">
          <ac:chgData name="VICTOR FERREIRA DE SOUSA" userId="S::victor.sousa@bandtec.com.br::efba667f-df62-4343-b561-262b5dbd7cd9" providerId="AD" clId="Web-{AA746003-2984-F338-C074-FCAE57AC1780}" dt="2019-02-22T13:59:09.935" v="494"/>
          <ac:spMkLst>
            <pc:docMk/>
            <pc:sldMk cId="3773517881" sldId="347"/>
            <ac:spMk id="24" creationId="{D1A6914B-F188-4568-9F0D-079951DE7196}"/>
          </ac:spMkLst>
        </pc:spChg>
        <pc:spChg chg="add del mod">
          <ac:chgData name="VICTOR FERREIRA DE SOUSA" userId="S::victor.sousa@bandtec.com.br::efba667f-df62-4343-b561-262b5dbd7cd9" providerId="AD" clId="Web-{AA746003-2984-F338-C074-FCAE57AC1780}" dt="2019-02-22T13:50:47.579" v="378"/>
          <ac:spMkLst>
            <pc:docMk/>
            <pc:sldMk cId="3773517881" sldId="347"/>
            <ac:spMk id="25" creationId="{0E622FBA-02BC-4893-94E4-974A9559CACB}"/>
          </ac:spMkLst>
        </pc:spChg>
        <pc:spChg chg="add mod">
          <ac:chgData name="VICTOR FERREIRA DE SOUSA" userId="S::victor.sousa@bandtec.com.br::efba667f-df62-4343-b561-262b5dbd7cd9" providerId="AD" clId="Web-{AA746003-2984-F338-C074-FCAE57AC1780}" dt="2019-02-22T13:53:20.968" v="426" actId="1076"/>
          <ac:spMkLst>
            <pc:docMk/>
            <pc:sldMk cId="3773517881" sldId="347"/>
            <ac:spMk id="28" creationId="{EB59F9A5-AC02-494E-A17C-F4F416BC7B9F}"/>
          </ac:spMkLst>
        </pc:spChg>
        <pc:spChg chg="add del mod">
          <ac:chgData name="VICTOR FERREIRA DE SOUSA" userId="S::victor.sousa@bandtec.com.br::efba667f-df62-4343-b561-262b5dbd7cd9" providerId="AD" clId="Web-{AA746003-2984-F338-C074-FCAE57AC1780}" dt="2019-02-22T13:53:05" v="419"/>
          <ac:spMkLst>
            <pc:docMk/>
            <pc:sldMk cId="3773517881" sldId="347"/>
            <ac:spMk id="29" creationId="{E380753E-06DA-4D07-A4AB-A1DECE9C0EF1}"/>
          </ac:spMkLst>
        </pc:spChg>
        <pc:spChg chg="add del mod">
          <ac:chgData name="VICTOR FERREIRA DE SOUSA" userId="S::victor.sousa@bandtec.com.br::efba667f-df62-4343-b561-262b5dbd7cd9" providerId="AD" clId="Web-{AA746003-2984-F338-C074-FCAE57AC1780}" dt="2019-02-22T13:48:34.923" v="344"/>
          <ac:spMkLst>
            <pc:docMk/>
            <pc:sldMk cId="3773517881" sldId="347"/>
            <ac:spMk id="30" creationId="{BFA86D04-0092-465C-A7DE-BD3BC8909749}"/>
          </ac:spMkLst>
        </pc:spChg>
        <pc:spChg chg="add del mod">
          <ac:chgData name="VICTOR FERREIRA DE SOUSA" userId="S::victor.sousa@bandtec.com.br::efba667f-df62-4343-b561-262b5dbd7cd9" providerId="AD" clId="Web-{AA746003-2984-F338-C074-FCAE57AC1780}" dt="2019-02-22T13:50:28.001" v="374"/>
          <ac:spMkLst>
            <pc:docMk/>
            <pc:sldMk cId="3773517881" sldId="347"/>
            <ac:spMk id="31" creationId="{F4B72A2C-10A3-446E-80D8-3528A04906DA}"/>
          </ac:spMkLst>
        </pc:spChg>
        <pc:spChg chg="add mod">
          <ac:chgData name="VICTOR FERREIRA DE SOUSA" userId="S::victor.sousa@bandtec.com.br::efba667f-df62-4343-b561-262b5dbd7cd9" providerId="AD" clId="Web-{AA746003-2984-F338-C074-FCAE57AC1780}" dt="2019-02-22T13:50:30.688" v="375" actId="1076"/>
          <ac:spMkLst>
            <pc:docMk/>
            <pc:sldMk cId="3773517881" sldId="347"/>
            <ac:spMk id="32" creationId="{D3FCE4BD-6ED6-4323-A3CF-BB01B67AC402}"/>
          </ac:spMkLst>
        </pc:spChg>
        <pc:spChg chg="del mod">
          <ac:chgData name="VICTOR FERREIRA DE SOUSA" userId="S::victor.sousa@bandtec.com.br::efba667f-df62-4343-b561-262b5dbd7cd9" providerId="AD" clId="Web-{AA746003-2984-F338-C074-FCAE57AC1780}" dt="2019-02-22T13:49:43.751" v="359"/>
          <ac:spMkLst>
            <pc:docMk/>
            <pc:sldMk cId="3773517881" sldId="347"/>
            <ac:spMk id="35" creationId="{4997F601-006F-4BC7-9604-88E30DA500D9}"/>
          </ac:spMkLst>
        </pc:spChg>
        <pc:spChg chg="add mod">
          <ac:chgData name="VICTOR FERREIRA DE SOUSA" userId="S::victor.sousa@bandtec.com.br::efba667f-df62-4343-b561-262b5dbd7cd9" providerId="AD" clId="Web-{AA746003-2984-F338-C074-FCAE57AC1780}" dt="2019-02-22T13:55:48.389" v="461" actId="14100"/>
          <ac:spMkLst>
            <pc:docMk/>
            <pc:sldMk cId="3773517881" sldId="347"/>
            <ac:spMk id="37" creationId="{875FE6A1-B16C-49C3-98C9-5C1ED4DB69DC}"/>
          </ac:spMkLst>
        </pc:spChg>
        <pc:spChg chg="add mod">
          <ac:chgData name="VICTOR FERREIRA DE SOUSA" userId="S::victor.sousa@bandtec.com.br::efba667f-df62-4343-b561-262b5dbd7cd9" providerId="AD" clId="Web-{AA746003-2984-F338-C074-FCAE57AC1780}" dt="2019-02-22T13:56:12.811" v="472" actId="20577"/>
          <ac:spMkLst>
            <pc:docMk/>
            <pc:sldMk cId="3773517881" sldId="347"/>
            <ac:spMk id="38" creationId="{3AA65A56-05E8-43B7-B568-217FE1B5B311}"/>
          </ac:spMkLst>
        </pc:spChg>
        <pc:spChg chg="add mod">
          <ac:chgData name="VICTOR FERREIRA DE SOUSA" userId="S::victor.sousa@bandtec.com.br::efba667f-df62-4343-b561-262b5dbd7cd9" providerId="AD" clId="Web-{AA746003-2984-F338-C074-FCAE57AC1780}" dt="2019-02-22T14:00:08.606" v="506" actId="14100"/>
          <ac:spMkLst>
            <pc:docMk/>
            <pc:sldMk cId="3773517881" sldId="347"/>
            <ac:spMk id="39" creationId="{3ADAA930-DC46-49F1-8ABA-6A8C9ABBED17}"/>
          </ac:spMkLst>
        </pc:spChg>
        <pc:spChg chg="add mod">
          <ac:chgData name="VICTOR FERREIRA DE SOUSA" userId="S::victor.sousa@bandtec.com.br::efba667f-df62-4343-b561-262b5dbd7cd9" providerId="AD" clId="Web-{AA746003-2984-F338-C074-FCAE57AC1780}" dt="2019-02-22T14:00:35.731" v="520" actId="20577"/>
          <ac:spMkLst>
            <pc:docMk/>
            <pc:sldMk cId="3773517881" sldId="347"/>
            <ac:spMk id="40" creationId="{D24BACB2-E0E8-421D-9BE8-4A560FA3091E}"/>
          </ac:spMkLst>
        </pc:spChg>
        <pc:cxnChg chg="add mod">
          <ac:chgData name="VICTOR FERREIRA DE SOUSA" userId="S::victor.sousa@bandtec.com.br::efba667f-df62-4343-b561-262b5dbd7cd9" providerId="AD" clId="Web-{AA746003-2984-F338-C074-FCAE57AC1780}" dt="2019-02-22T13:53:51.609" v="437" actId="14100"/>
          <ac:cxnSpMkLst>
            <pc:docMk/>
            <pc:sldMk cId="3773517881" sldId="347"/>
            <ac:cxnSpMk id="2" creationId="{10328426-E482-4AB3-A4A2-988198E5C7A3}"/>
          </ac:cxnSpMkLst>
        </pc:cxnChg>
        <pc:cxnChg chg="add mod">
          <ac:chgData name="VICTOR FERREIRA DE SOUSA" userId="S::victor.sousa@bandtec.com.br::efba667f-df62-4343-b561-262b5dbd7cd9" providerId="AD" clId="Web-{AA746003-2984-F338-C074-FCAE57AC1780}" dt="2019-02-22T13:53:39.609" v="434" actId="14100"/>
          <ac:cxnSpMkLst>
            <pc:docMk/>
            <pc:sldMk cId="3773517881" sldId="347"/>
            <ac:cxnSpMk id="33" creationId="{1300AEC1-6481-4587-9094-085656815A55}"/>
          </ac:cxnSpMkLst>
        </pc:cxnChg>
        <pc:cxnChg chg="add mod">
          <ac:chgData name="VICTOR FERREIRA DE SOUSA" userId="S::victor.sousa@bandtec.com.br::efba667f-df62-4343-b561-262b5dbd7cd9" providerId="AD" clId="Web-{AA746003-2984-F338-C074-FCAE57AC1780}" dt="2019-02-22T13:53:45.671" v="435" actId="14100"/>
          <ac:cxnSpMkLst>
            <pc:docMk/>
            <pc:sldMk cId="3773517881" sldId="347"/>
            <ac:cxnSpMk id="34" creationId="{81FD4A28-028A-4E11-A8C0-BCDE4944B885}"/>
          </ac:cxnSpMkLst>
        </pc:cxnChg>
        <pc:cxnChg chg="add mod">
          <ac:chgData name="VICTOR FERREIRA DE SOUSA" userId="S::victor.sousa@bandtec.com.br::efba667f-df62-4343-b561-262b5dbd7cd9" providerId="AD" clId="Web-{AA746003-2984-F338-C074-FCAE57AC1780}" dt="2019-02-22T13:54:17.656" v="438" actId="14100"/>
          <ac:cxnSpMkLst>
            <pc:docMk/>
            <pc:sldMk cId="3773517881" sldId="347"/>
            <ac:cxnSpMk id="36" creationId="{831534C2-43FC-4E34-8AAC-C57A51479A9D}"/>
          </ac:cxnSpMkLst>
        </pc:cxnChg>
      </pc:sldChg>
    </pc:docChg>
  </pc:docChgLst>
  <pc:docChgLst>
    <pc:chgData name="Fernando Brandao" userId="98fd82832e5e8854" providerId="LiveId" clId="{5BC8178E-F97A-43B8-B01C-B7A69C6AA1DE}"/>
    <pc:docChg chg="modSld">
      <pc:chgData name="Fernando Brandao" userId="98fd82832e5e8854" providerId="LiveId" clId="{5BC8178E-F97A-43B8-B01C-B7A69C6AA1DE}" dt="2018-04-09T13:27:30.600" v="21" actId="20577"/>
      <pc:docMkLst>
        <pc:docMk/>
      </pc:docMkLst>
      <pc:sldChg chg="modSp">
        <pc:chgData name="Fernando Brandao" userId="98fd82832e5e8854" providerId="LiveId" clId="{5BC8178E-F97A-43B8-B01C-B7A69C6AA1DE}" dt="2018-04-09T13:27:30.600" v="21" actId="20577"/>
        <pc:sldMkLst>
          <pc:docMk/>
          <pc:sldMk cId="2646995053" sldId="319"/>
        </pc:sldMkLst>
        <pc:spChg chg="mod">
          <ac:chgData name="Fernando Brandao" userId="98fd82832e5e8854" providerId="LiveId" clId="{5BC8178E-F97A-43B8-B01C-B7A69C6AA1DE}" dt="2018-04-09T13:27:30.600" v="21" actId="20577"/>
          <ac:spMkLst>
            <pc:docMk/>
            <pc:sldMk cId="2646995053" sldId="319"/>
            <ac:spMk id="13" creationId="{00000000-0000-0000-0000-000000000000}"/>
          </ac:spMkLst>
        </pc:spChg>
      </pc:sldChg>
    </pc:docChg>
  </pc:docChgLst>
  <pc:docChgLst>
    <pc:chgData name="Fernando Brandao" userId="98fd82832e5e8854" providerId="LiveId" clId="{4778F66F-A0C7-4DEB-9192-4251172539FB}"/>
  </pc:docChgLst>
  <pc:docChgLst>
    <pc:chgData name="CRISTIELEN OLIVEIRA DE BARROS" userId="S::cristielen.barros@bandtec.com.br::2181d953-4f05-4edb-b0c3-63d4992e1bef" providerId="AD" clId="Web-{4C97C84D-E98E-4045-8036-49E776196D76}"/>
    <pc:docChg chg="delSld modSld">
      <pc:chgData name="CRISTIELEN OLIVEIRA DE BARROS" userId="S::cristielen.barros@bandtec.com.br::2181d953-4f05-4edb-b0c3-63d4992e1bef" providerId="AD" clId="Web-{4C97C84D-E98E-4045-8036-49E776196D76}" dt="2019-02-22T14:44:38.173" v="2" actId="14100"/>
      <pc:docMkLst>
        <pc:docMk/>
      </pc:docMkLst>
      <pc:sldChg chg="del">
        <pc:chgData name="CRISTIELEN OLIVEIRA DE BARROS" userId="S::cristielen.barros@bandtec.com.br::2181d953-4f05-4edb-b0c3-63d4992e1bef" providerId="AD" clId="Web-{4C97C84D-E98E-4045-8036-49E776196D76}" dt="2019-02-22T14:44:21.891" v="0"/>
        <pc:sldMkLst>
          <pc:docMk/>
          <pc:sldMk cId="3555918169" sldId="321"/>
        </pc:sldMkLst>
      </pc:sldChg>
      <pc:sldChg chg="modSp">
        <pc:chgData name="CRISTIELEN OLIVEIRA DE BARROS" userId="S::cristielen.barros@bandtec.com.br::2181d953-4f05-4edb-b0c3-63d4992e1bef" providerId="AD" clId="Web-{4C97C84D-E98E-4045-8036-49E776196D76}" dt="2019-02-22T14:44:38.173" v="2" actId="14100"/>
        <pc:sldMkLst>
          <pc:docMk/>
          <pc:sldMk cId="220032209" sldId="344"/>
        </pc:sldMkLst>
        <pc:spChg chg="mod">
          <ac:chgData name="CRISTIELEN OLIVEIRA DE BARROS" userId="S::cristielen.barros@bandtec.com.br::2181d953-4f05-4edb-b0c3-63d4992e1bef" providerId="AD" clId="Web-{4C97C84D-E98E-4045-8036-49E776196D76}" dt="2019-02-22T14:44:38.173" v="2" actId="14100"/>
          <ac:spMkLst>
            <pc:docMk/>
            <pc:sldMk cId="220032209" sldId="344"/>
            <ac:spMk id="17" creationId="{4997F601-006F-4BC7-9604-88E30DA500D9}"/>
          </ac:spMkLst>
        </pc:spChg>
      </pc:sldChg>
      <pc:sldChg chg="del">
        <pc:chgData name="CRISTIELEN OLIVEIRA DE BARROS" userId="S::cristielen.barros@bandtec.com.br::2181d953-4f05-4edb-b0c3-63d4992e1bef" providerId="AD" clId="Web-{4C97C84D-E98E-4045-8036-49E776196D76}" dt="2019-02-22T14:44:23.594" v="1"/>
        <pc:sldMkLst>
          <pc:docMk/>
          <pc:sldMk cId="4208443087" sldId="346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22/02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22/02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34775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5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Calibri"/>
              </a:rPr>
              <a:t>PLANOS DE RESPOSTAS</a:t>
            </a:r>
          </a:p>
          <a:p>
            <a:pPr>
              <a:lnSpc>
                <a:spcPct val="100000"/>
              </a:lnSpc>
              <a:spcAft>
                <a:spcPts val="662"/>
              </a:spcAft>
            </a:pPr>
            <a:endParaRPr lang="pt-BR" sz="305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1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03026" y="2365564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Prazo de Arrogados</a:t>
            </a:r>
            <a:endParaRPr lang="en-US" sz="2000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260452" y="2725246"/>
            <a:ext cx="1839502" cy="1045419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Falta de planejamento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88637" y="2584501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Importância aos erros</a:t>
            </a:r>
            <a:endParaRPr lang="pt-BR" sz="150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679533" y="3238310"/>
            <a:ext cx="1635653" cy="109513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Falta de Qualidade do Projeto</a:t>
            </a:r>
            <a:endParaRPr lang="pt-BR" sz="1544" dirty="0" err="1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28831" y="3771275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Alteração do Escopo</a:t>
            </a:r>
            <a:endParaRPr lang="pt-BR" sz="150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347357" y="4396809"/>
            <a:ext cx="1573460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000" dirty="0">
                <a:solidFill>
                  <a:srgbClr val="000000"/>
                </a:solidFill>
                <a:latin typeface="MV Boli"/>
                <a:cs typeface="MV Boli"/>
              </a:rPr>
              <a:t>Atribuição de Tarefas aleatórias</a:t>
            </a:r>
            <a:endParaRPr lang="pt-BR" sz="2000" dirty="0">
              <a:solidFill>
                <a:srgbClr val="000000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589392" y="2902146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Entrega das Sprints</a:t>
            </a:r>
            <a:endParaRPr lang="pt-BR" sz="20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766652" y="4640903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Experimentar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ângulo 15">
            <a:extLst>
              <a:ext uri="{FF2B5EF4-FFF2-40B4-BE49-F238E27FC236}">
                <a16:creationId xmlns:a16="http://schemas.microsoft.com/office/drawing/2014/main" id="{BB98531C-08A4-4699-97BF-99F5CD14A417}"/>
              </a:ext>
            </a:extLst>
          </p:cNvPr>
          <p:cNvSpPr/>
          <p:nvPr/>
        </p:nvSpPr>
        <p:spPr>
          <a:xfrm>
            <a:off x="4799690" y="4320358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Expectativas Altas</a:t>
            </a: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5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Calibri"/>
              </a:rPr>
              <a:t>PLANOS DE RESPOSTAS</a:t>
            </a:r>
          </a:p>
          <a:p>
            <a:pPr>
              <a:lnSpc>
                <a:spcPct val="100000"/>
              </a:lnSpc>
              <a:spcAft>
                <a:spcPts val="662"/>
              </a:spcAft>
            </a:pPr>
            <a:endParaRPr lang="pt-BR" sz="305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2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559875" y="4758232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Prazo de Arrogados</a:t>
            </a:r>
            <a:endParaRPr lang="en-US" sz="2000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463682" y="5712269"/>
            <a:ext cx="1761255" cy="873218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Falta de planejamento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88637" y="2021520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Importância aos erros</a:t>
            </a:r>
            <a:endParaRPr lang="pt-BR" sz="150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725994" y="3397680"/>
            <a:ext cx="1667358" cy="8732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Falta de Qualidade do Projeto</a:t>
            </a:r>
            <a:endParaRPr lang="pt-BR" sz="1544" dirty="0" err="1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560615" y="3755636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Alteração do Escopo</a:t>
            </a:r>
            <a:endParaRPr lang="pt-BR" sz="150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370528" y="2292250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Entrega das Sprints</a:t>
            </a:r>
            <a:endParaRPr lang="pt-BR" sz="2000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547788" y="3468026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Experimentar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ângulo 15">
            <a:extLst>
              <a:ext uri="{FF2B5EF4-FFF2-40B4-BE49-F238E27FC236}">
                <a16:creationId xmlns:a16="http://schemas.microsoft.com/office/drawing/2014/main" id="{BB98531C-08A4-4699-97BF-99F5CD14A417}"/>
              </a:ext>
            </a:extLst>
          </p:cNvPr>
          <p:cNvSpPr/>
          <p:nvPr/>
        </p:nvSpPr>
        <p:spPr>
          <a:xfrm>
            <a:off x="5065453" y="4883339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Expectativas Altas</a:t>
            </a:r>
          </a:p>
        </p:txBody>
      </p:sp>
      <p:sp>
        <p:nvSpPr>
          <p:cNvPr id="28" name="Retângulo 19">
            <a:extLst>
              <a:ext uri="{FF2B5EF4-FFF2-40B4-BE49-F238E27FC236}">
                <a16:creationId xmlns:a16="http://schemas.microsoft.com/office/drawing/2014/main" id="{EB59F9A5-AC02-494E-A17C-F4F416BC7B9F}"/>
              </a:ext>
            </a:extLst>
          </p:cNvPr>
          <p:cNvSpPr/>
          <p:nvPr/>
        </p:nvSpPr>
        <p:spPr>
          <a:xfrm>
            <a:off x="1071942" y="1742625"/>
            <a:ext cx="2701023" cy="1423108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400" dirty="0">
                <a:solidFill>
                  <a:srgbClr val="000000"/>
                </a:solidFill>
                <a:latin typeface="MV Boli"/>
                <a:cs typeface="MV Boli"/>
              </a:rPr>
              <a:t>Planejar-se mais</a:t>
            </a:r>
          </a:p>
        </p:txBody>
      </p:sp>
      <p:sp>
        <p:nvSpPr>
          <p:cNvPr id="32" name="Retângulo 20">
            <a:extLst>
              <a:ext uri="{FF2B5EF4-FFF2-40B4-BE49-F238E27FC236}">
                <a16:creationId xmlns:a16="http://schemas.microsoft.com/office/drawing/2014/main" id="{D3FCE4BD-6ED6-4323-A3CF-BB01B67AC402}"/>
              </a:ext>
            </a:extLst>
          </p:cNvPr>
          <p:cNvSpPr/>
          <p:nvPr/>
        </p:nvSpPr>
        <p:spPr>
          <a:xfrm>
            <a:off x="685386" y="5710431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2000" dirty="0">
                <a:solidFill>
                  <a:srgbClr val="000000"/>
                </a:solidFill>
                <a:latin typeface="MV Boli"/>
                <a:cs typeface="MV Boli"/>
              </a:rPr>
              <a:t>Atribuição de Tarefas aleatórias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10328426-E482-4AB3-A4A2-988198E5C7A3}"/>
              </a:ext>
            </a:extLst>
          </p:cNvPr>
          <p:cNvCxnSpPr/>
          <p:nvPr/>
        </p:nvCxnSpPr>
        <p:spPr>
          <a:xfrm>
            <a:off x="2414490" y="4638432"/>
            <a:ext cx="15002" cy="124286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300AEC1-6481-4587-9094-085656815A55}"/>
              </a:ext>
            </a:extLst>
          </p:cNvPr>
          <p:cNvCxnSpPr>
            <a:cxnSpLocks/>
          </p:cNvCxnSpPr>
          <p:nvPr/>
        </p:nvCxnSpPr>
        <p:spPr>
          <a:xfrm>
            <a:off x="3243737" y="5623681"/>
            <a:ext cx="77601" cy="61666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81FD4A28-028A-4E11-A8C0-BCDE4944B885}"/>
              </a:ext>
            </a:extLst>
          </p:cNvPr>
          <p:cNvCxnSpPr>
            <a:cxnSpLocks/>
          </p:cNvCxnSpPr>
          <p:nvPr/>
        </p:nvCxnSpPr>
        <p:spPr>
          <a:xfrm flipH="1">
            <a:off x="1522428" y="5593076"/>
            <a:ext cx="63246" cy="124287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31534C2-43FC-4E34-8AAC-C57A51479A9D}"/>
              </a:ext>
            </a:extLst>
          </p:cNvPr>
          <p:cNvCxnSpPr>
            <a:cxnSpLocks/>
          </p:cNvCxnSpPr>
          <p:nvPr/>
        </p:nvCxnSpPr>
        <p:spPr>
          <a:xfrm>
            <a:off x="2416374" y="3168655"/>
            <a:ext cx="15003" cy="578274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ângulo 19">
            <a:extLst>
              <a:ext uri="{FF2B5EF4-FFF2-40B4-BE49-F238E27FC236}">
                <a16:creationId xmlns:a16="http://schemas.microsoft.com/office/drawing/2014/main" id="{875FE6A1-B16C-49C3-98C9-5C1ED4DB69DC}"/>
              </a:ext>
            </a:extLst>
          </p:cNvPr>
          <p:cNvSpPr/>
          <p:nvPr/>
        </p:nvSpPr>
        <p:spPr>
          <a:xfrm>
            <a:off x="6293805" y="1696596"/>
            <a:ext cx="1558607" cy="1078703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00" dirty="0">
                <a:solidFill>
                  <a:srgbClr val="000000"/>
                </a:solidFill>
                <a:latin typeface="MV Boli"/>
                <a:cs typeface="MV Boli"/>
              </a:rPr>
              <a:t>Dar mais Importância</a:t>
            </a:r>
            <a:endParaRPr lang="pt-BR" sz="1800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sp>
        <p:nvSpPr>
          <p:cNvPr id="38" name="Retângulo 19">
            <a:extLst>
              <a:ext uri="{FF2B5EF4-FFF2-40B4-BE49-F238E27FC236}">
                <a16:creationId xmlns:a16="http://schemas.microsoft.com/office/drawing/2014/main" id="{3AA65A56-05E8-43B7-B568-217FE1B5B311}"/>
              </a:ext>
            </a:extLst>
          </p:cNvPr>
          <p:cNvSpPr/>
          <p:nvPr/>
        </p:nvSpPr>
        <p:spPr>
          <a:xfrm>
            <a:off x="5264179" y="3119686"/>
            <a:ext cx="1558607" cy="1078703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00" dirty="0">
                <a:solidFill>
                  <a:srgbClr val="000000"/>
                </a:solidFill>
                <a:latin typeface="MV Boli"/>
                <a:cs typeface="MV Boli"/>
              </a:rPr>
              <a:t>Empenhar-se</a:t>
            </a:r>
            <a:endParaRPr lang="pt-BR" sz="1800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sp>
        <p:nvSpPr>
          <p:cNvPr id="39" name="Retângulo 19">
            <a:extLst>
              <a:ext uri="{FF2B5EF4-FFF2-40B4-BE49-F238E27FC236}">
                <a16:creationId xmlns:a16="http://schemas.microsoft.com/office/drawing/2014/main" id="{3ADAA930-DC46-49F1-8ABA-6A8C9ABBED17}"/>
              </a:ext>
            </a:extLst>
          </p:cNvPr>
          <p:cNvSpPr/>
          <p:nvPr/>
        </p:nvSpPr>
        <p:spPr>
          <a:xfrm>
            <a:off x="6733739" y="4574053"/>
            <a:ext cx="1777700" cy="1172631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00" dirty="0">
                <a:solidFill>
                  <a:srgbClr val="000000"/>
                </a:solidFill>
                <a:latin typeface="MV Boli"/>
                <a:cs typeface="MV Boli"/>
              </a:rPr>
              <a:t>Se manter concentrado e alinhado com a equipe</a:t>
            </a:r>
            <a:endParaRPr lang="pt-BR" sz="1800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sp>
        <p:nvSpPr>
          <p:cNvPr id="40" name="Retângulo 26">
            <a:extLst>
              <a:ext uri="{FF2B5EF4-FFF2-40B4-BE49-F238E27FC236}">
                <a16:creationId xmlns:a16="http://schemas.microsoft.com/office/drawing/2014/main" id="{D24BACB2-E0E8-421D-9BE8-4A560FA3091E}"/>
              </a:ext>
            </a:extLst>
          </p:cNvPr>
          <p:cNvSpPr/>
          <p:nvPr/>
        </p:nvSpPr>
        <p:spPr>
          <a:xfrm>
            <a:off x="9629023" y="5031861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dirty="0">
                <a:solidFill>
                  <a:schemeClr val="tx1"/>
                </a:solidFill>
                <a:latin typeface="MV Boli"/>
                <a:cs typeface="MV Boli"/>
              </a:rPr>
              <a:t>Concluir o projeto</a:t>
            </a:r>
          </a:p>
        </p:txBody>
      </p:sp>
    </p:spTree>
    <p:extLst>
      <p:ext uri="{BB962C8B-B14F-4D97-AF65-F5344CB8AC3E}">
        <p14:creationId xmlns:p14="http://schemas.microsoft.com/office/powerpoint/2010/main" val="3773517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3CC155F2FBB72499B499F746BE7ADCD" ma:contentTypeVersion="4" ma:contentTypeDescription="Crie um novo documento." ma:contentTypeScope="" ma:versionID="251ef6d170d145e7ccfbbb3e6c006263">
  <xsd:schema xmlns:xsd="http://www.w3.org/2001/XMLSchema" xmlns:xs="http://www.w3.org/2001/XMLSchema" xmlns:p="http://schemas.microsoft.com/office/2006/metadata/properties" xmlns:ns2="7108ced6-578b-4fbf-90af-59eca2ad4e6d" targetNamespace="http://schemas.microsoft.com/office/2006/metadata/properties" ma:root="true" ma:fieldsID="1ea6f8e289e4d7f79a1adc24e79f110d" ns2:_="">
    <xsd:import namespace="7108ced6-578b-4fbf-90af-59eca2ad4e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08ced6-578b-4fbf-90af-59eca2ad4e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E12030D-1F5A-4E71-9E2A-A7176427E0C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D8B8416-EF18-49DE-BA26-9FF72DC6D1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08ced6-578b-4fbf-90af-59eca2ad4e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898884-DDCD-4416-A0C1-EFA6E56EB0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56</TotalTime>
  <Words>124</Words>
  <Application>Microsoft Office PowerPoint</Application>
  <PresentationFormat>Personalizar</PresentationFormat>
  <Paragraphs>50</Paragraphs>
  <Slides>2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2</vt:i4>
      </vt:variant>
    </vt:vector>
  </HeadingPairs>
  <TitlesOfParts>
    <vt:vector size="4" baseType="lpstr">
      <vt:lpstr>Conteúdo</vt:lpstr>
      <vt:lpstr>Encerramento / Agradecimento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Gerson Santos</cp:lastModifiedBy>
  <cp:revision>492</cp:revision>
  <dcterms:created xsi:type="dcterms:W3CDTF">2016-12-01T16:19:35Z</dcterms:created>
  <dcterms:modified xsi:type="dcterms:W3CDTF">2019-02-22T14:4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CC155F2FBB72499B499F746BE7ADCD</vt:lpwstr>
  </property>
  <property fmtid="{D5CDD505-2E9C-101B-9397-08002B2CF9AE}" pid="3" name="AuthorIds_UIVersion_512">
    <vt:lpwstr>15</vt:lpwstr>
  </property>
  <property fmtid="{D5CDD505-2E9C-101B-9397-08002B2CF9AE}" pid="4" name="AuthorIds_UIVersion_1024">
    <vt:lpwstr>15</vt:lpwstr>
  </property>
  <property fmtid="{D5CDD505-2E9C-101B-9397-08002B2CF9AE}" pid="5" name="AuthorIds_UIVersion_1536">
    <vt:lpwstr>15</vt:lpwstr>
  </property>
  <property fmtid="{D5CDD505-2E9C-101B-9397-08002B2CF9AE}" pid="6" name="AuthorIds_UIVersion_2048">
    <vt:lpwstr>15</vt:lpwstr>
  </property>
  <property fmtid="{D5CDD505-2E9C-101B-9397-08002B2CF9AE}" pid="7" name="AuthorIds_UIVersion_2560">
    <vt:lpwstr>15</vt:lpwstr>
  </property>
</Properties>
</file>